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2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Masters/slideMaster2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tags/tag9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14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11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13.xml" ContentType="application/vnd.openxmlformats-officedocument.presentationml.tags+xml"/>
  <Override PartName="/ppt/tags/tag15.xml" ContentType="application/vnd.openxmlformats-officedocument.presentationml.tags+xml"/>
  <Override PartName="/ppt/tags/tag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55" r:id="rId2"/>
  </p:sldMasterIdLst>
  <p:notesMasterIdLst>
    <p:notesMasterId r:id="rId4"/>
  </p:notesMasterIdLst>
  <p:handoutMasterIdLst>
    <p:handoutMasterId r:id="rId5"/>
  </p:handoutMasterIdLst>
  <p:sldIdLst>
    <p:sldId id="552" r:id="rId3"/>
  </p:sldIdLst>
  <p:sldSz cx="10691813" cy="6011863"/>
  <p:notesSz cx="6858000" cy="9144000"/>
  <p:custDataLst>
    <p:tags r:id="rId6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7178EF7-9504-422E-B0D6-568C15DAE539}">
          <p14:sldIdLst>
            <p14:sldId id="552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368" userDrawn="1">
          <p15:clr>
            <a:srgbClr val="A4A3A4"/>
          </p15:clr>
        </p15:guide>
        <p15:guide id="3" orient="horz" pos="828" userDrawn="1">
          <p15:clr>
            <a:srgbClr val="A4A3A4"/>
          </p15:clr>
        </p15:guide>
        <p15:guide id="4" pos="283" userDrawn="1">
          <p15:clr>
            <a:srgbClr val="A4A3A4"/>
          </p15:clr>
        </p15:guide>
        <p15:guide id="5" pos="64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570" autoAdjust="0"/>
  </p:normalViewPr>
  <p:slideViewPr>
    <p:cSldViewPr snapToGrid="0">
      <p:cViewPr varScale="1">
        <p:scale>
          <a:sx n="70" d="100"/>
          <a:sy n="70" d="100"/>
        </p:scale>
        <p:origin x="76" y="152"/>
      </p:cViewPr>
      <p:guideLst>
        <p:guide orient="horz" pos="3368"/>
        <p:guide orient="horz" pos="828"/>
        <p:guide pos="283"/>
        <p:guide pos="645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3234" y="44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customXml" Target="../customXml/item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en-GB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7/01/2023</a:t>
            </a:fld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en-GB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en-GB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en-GB" smtClean="0"/>
              <a:pPr/>
              <a:t>27/01/2023</a:t>
            </a:fld>
            <a:endParaRPr lang="en-GB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sv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.svg"/><Relationship Id="rId4" Type="http://schemas.openxmlformats.org/officeDocument/2006/relationships/image" Target="../media/image2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5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5.sv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1314450"/>
            <a:ext cx="9793288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20793679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1010432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8617632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6F2B00-11F9-05A7-0019-CDAB04333A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12366664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644526-9241-8C2F-636B-80CF0817FA3C}"/>
              </a:ext>
            </a:extLst>
          </p:cNvPr>
          <p:cNvSpPr/>
          <p:nvPr userDrawn="1"/>
        </p:nvSpPr>
        <p:spPr>
          <a:xfrm>
            <a:off x="6804025" y="4248000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8C56CD-6614-0B7D-DAAA-2B22E7C094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Additional Information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543695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644526-9241-8C2F-636B-80CF0817FA3C}"/>
              </a:ext>
            </a:extLst>
          </p:cNvPr>
          <p:cNvSpPr/>
          <p:nvPr userDrawn="1"/>
        </p:nvSpPr>
        <p:spPr>
          <a:xfrm>
            <a:off x="6804025" y="4248000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7" imgW="399" imgH="398" progId="TCLayout.ActiveDocument.1">
                  <p:embed/>
                </p:oleObj>
              </mc:Choice>
              <mc:Fallback>
                <p:oleObj name="think-cell Slide" r:id="rId7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Additional Information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424483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EF1A5EC-7FCB-D018-7DAD-F85669A3B6C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1807921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17638922-8616-7758-2893-22863B2F33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1. Chapter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Chapter detai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64603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5CE0534-2ADB-D786-4BA6-7C4BF6A8C5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41638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D23BB2C-50B8-75FA-A6E1-0FF96F41F4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  <a:endParaRPr lang="en-GB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tř. Václava Klementa 869 Mladá Boleslav II</a:t>
            </a:r>
            <a:br>
              <a:rPr lang="en-GB" noProof="1"/>
            </a:br>
            <a:r>
              <a:rPr lang="en-GB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1342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262897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3681452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222222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7576450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1314450"/>
            <a:ext cx="9793288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339245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131594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7" imgW="399" imgH="398" progId="TCLayout.ActiveDocument.1">
                  <p:embed/>
                </p:oleObj>
              </mc:Choice>
              <mc:Fallback>
                <p:oleObj name="think-cell Slide" r:id="rId7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1466464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4708305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19258569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mera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B9963D-4194-84A4-A5CA-461A720BD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1478924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lec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F0FA753-08B2-8DDC-C26C-07D66B058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0625541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120851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1. Chapter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Chapter detai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660901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875240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Thank You</a:t>
            </a:r>
            <a:endParaRPr lang="en-GB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 smtClean="0"/>
              <a:t>Kliknutím na ikonu přidáte obrázek.</a:t>
            </a:r>
            <a:endParaRPr lang="en-GB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 smtClean="0"/>
              <a:t>Kliknutím na ikonu přidáte obrázek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tř. Václava Klementa 869 Mladá Boleslav II</a:t>
            </a:r>
            <a:br>
              <a:rPr lang="en-GB" noProof="1"/>
            </a:br>
            <a:r>
              <a:rPr lang="en-GB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126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964541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oleObject" Target="../embeddings/oleObject8.bin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8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3" imgW="399" imgH="398" progId="TCLayout.ActiveDocument.1">
                  <p:embed/>
                </p:oleObj>
              </mc:Choice>
              <mc:Fallback>
                <p:oleObj name="think-cell Slide" r:id="rId23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dirty="0"/>
              <a:t>SXX | Date | Presentation Title | Department | Name</a:t>
            </a:r>
            <a:endParaRPr lang="en-GB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7" r:id="rId3"/>
    <p:sldLayoutId id="2147483740" r:id="rId4"/>
    <p:sldLayoutId id="2147483738" r:id="rId5"/>
    <p:sldLayoutId id="2147483739" r:id="rId6"/>
    <p:sldLayoutId id="214748373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52" r:id="rId15"/>
    <p:sldLayoutId id="2147483753" r:id="rId16"/>
    <p:sldLayoutId id="2147483754" r:id="rId17"/>
  </p:sldLayoutIdLs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425C78C-10A7-3C67-0F4D-6452760EE78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23" imgW="399" imgH="398" progId="TCLayout.ActiveDocument.1">
                  <p:embed/>
                </p:oleObj>
              </mc:Choice>
              <mc:Fallback>
                <p:oleObj name="think-cell Slide" r:id="rId23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dirty="0"/>
              <a:t>SXX | Date | Presentation Title | Department | Name</a:t>
            </a:r>
            <a:endParaRPr lang="en-GB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22605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</p:sldLayoutIdLs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2F8A70-6800-B23D-FBB0-ABF3F3C4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544" y="377712"/>
            <a:ext cx="4968876" cy="44524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400" b="1" dirty="0" smtClean="0"/>
              <a:t>Edukativní mobilní laboratoř EDU.LAB powered by ŠKODA AUTO</a:t>
            </a:r>
            <a:endParaRPr lang="en-GB" sz="24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D5BE18-B070-523B-5A58-99FF95C0C5B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2544" y="1393631"/>
            <a:ext cx="5302314" cy="1350013"/>
          </a:xfrm>
        </p:spPr>
        <p:txBody>
          <a:bodyPr/>
          <a:lstStyle/>
          <a:p>
            <a:r>
              <a:rPr lang="cs-CZ" dirty="0" smtClean="0"/>
              <a:t>Cíl: Popularizace technického vzdělání v ČR</a:t>
            </a:r>
          </a:p>
          <a:p>
            <a:endParaRPr lang="cs-CZ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/>
              <a:t>R</a:t>
            </a:r>
            <a:r>
              <a:rPr lang="cs-CZ" dirty="0" smtClean="0"/>
              <a:t>oadshows po základních a středních školách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 smtClean="0"/>
              <a:t>Robotika, umělá inteligence, VR, 3D tisk termovize, elektromobilita a další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dirty="0" smtClean="0"/>
              <a:t>Od září 2021 – více jak 9 000 návštěvníků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cs-CZ" sz="1800" dirty="0" smtClean="0"/>
              <a:t>SCANIA, ABB, ZČU, ČVUT, PRŮŠA,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A7BA61-1631-64C1-1DE0-B5BAC0868C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4A30EA-CD44-D8E0-C326-20304BD4E8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r>
              <a:rPr lang="cs-CZ" dirty="0" smtClean="0"/>
              <a:t>27.1.2023</a:t>
            </a:r>
            <a:r>
              <a:rPr lang="en-GB" dirty="0" smtClean="0"/>
              <a:t> </a:t>
            </a:r>
            <a:r>
              <a:rPr lang="en-GB" dirty="0"/>
              <a:t>| </a:t>
            </a:r>
            <a:r>
              <a:rPr lang="cs-CZ" dirty="0" smtClean="0"/>
              <a:t>EDU.LAB</a:t>
            </a:r>
            <a:r>
              <a:rPr lang="en-GB" dirty="0" smtClean="0"/>
              <a:t>| </a:t>
            </a:r>
            <a:r>
              <a:rPr lang="cs-CZ" dirty="0" smtClean="0"/>
              <a:t>Vnější vztahy</a:t>
            </a:r>
            <a:r>
              <a:rPr lang="en-GB" dirty="0" smtClean="0"/>
              <a:t> </a:t>
            </a:r>
            <a:r>
              <a:rPr lang="en-GB" dirty="0"/>
              <a:t>| </a:t>
            </a:r>
            <a:r>
              <a:rPr lang="cs-CZ" dirty="0" smtClean="0"/>
              <a:t>Veronika Marčeková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5355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 2022 Preliminary Sample Presentation.potx" id="{7D463A37-A946-44FE-86A6-C17BC9CDFC3F}" vid="{C6E7AC65-A130-46B2-9CF5-6A75045A0E3F}"/>
    </a:ext>
  </a:extLst>
</a:theme>
</file>

<file path=ppt/theme/theme2.xml><?xml version="1.0" encoding="utf-8"?>
<a:theme xmlns:a="http://schemas.openxmlformats.org/drawingml/2006/main" name="ŠKODA A4 Widescreen GREYSCALE">
  <a:themeElements>
    <a:clrScheme name="ŠKODA CI">
      <a:dk1>
        <a:sysClr val="windowText" lastClr="000000"/>
      </a:dk1>
      <a:lt1>
        <a:sysClr val="window" lastClr="FFFFFF"/>
      </a:lt1>
      <a:dk2>
        <a:srgbClr val="E5E5E5"/>
      </a:dk2>
      <a:lt2>
        <a:srgbClr val="747474"/>
      </a:lt2>
      <a:accent1>
        <a:srgbClr val="303030"/>
      </a:accent1>
      <a:accent2>
        <a:srgbClr val="D9D9D9"/>
      </a:accent2>
      <a:accent3>
        <a:srgbClr val="777777"/>
      </a:accent3>
      <a:accent4>
        <a:srgbClr val="CDCDCD"/>
      </a:accent4>
      <a:accent5>
        <a:srgbClr val="AEAEAE"/>
      </a:accent5>
      <a:accent6>
        <a:srgbClr val="B7B7B7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E5E5E5"/>
        </a:dk2>
        <a:lt2>
          <a:srgbClr val="747474"/>
        </a:lt2>
        <a:accent1>
          <a:srgbClr val="303030"/>
        </a:accent1>
        <a:accent2>
          <a:srgbClr val="D9D9D9"/>
        </a:accent2>
        <a:accent3>
          <a:srgbClr val="777777"/>
        </a:accent3>
        <a:accent4>
          <a:srgbClr val="CDCDCD"/>
        </a:accent4>
        <a:accent5>
          <a:srgbClr val="AEAEAE"/>
        </a:accent5>
        <a:accent6>
          <a:srgbClr val="B7B7B7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303030"/>
    </a:custClr>
    <a:custClr name="Electric Green">
      <a:srgbClr val="D9D9D9"/>
    </a:custClr>
    <a:custClr name="Red">
      <a:srgbClr val="747474"/>
    </a:custClr>
    <a:custClr name="Blue">
      <a:srgbClr val="535353"/>
    </a:custClr>
    <a:custClr name="Teal">
      <a:srgbClr val="AEAEAE"/>
    </a:custClr>
    <a:custClr name="Yellow">
      <a:srgbClr val="E5E5E5"/>
    </a:custClr>
    <a:custClr name="Orange">
      <a:srgbClr val="B7B7B7"/>
    </a:custClr>
  </a:custClrLst>
  <a:extLst>
    <a:ext uri="{05A4C25C-085E-4340-85A3-A5531E510DB2}">
      <thm15:themeFamily xmlns:thm15="http://schemas.microsoft.com/office/thememl/2012/main" name="SKODA 2022 Preliminary Sample Presentation.potx" id="{7D463A37-A946-44FE-86A6-C17BC9CDFC3F}" vid="{83A449C5-28AB-4362-96F3-91590DED3EE1}"/>
    </a:ext>
  </a:extLst>
</a:theme>
</file>

<file path=ppt/theme/theme3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ppt/theme/theme4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8B07776149F6489B49DE5723BA65AF" ma:contentTypeVersion="13" ma:contentTypeDescription="Vytvoří nový dokument" ma:contentTypeScope="" ma:versionID="c1075bb6206ae31f462b4ef2667a0167">
  <xsd:schema xmlns:xsd="http://www.w3.org/2001/XMLSchema" xmlns:xs="http://www.w3.org/2001/XMLSchema" xmlns:p="http://schemas.microsoft.com/office/2006/metadata/properties" xmlns:ns2="ca75af4f-63cf-4b10-b368-fa399a260f8c" xmlns:ns3="a1f449ad-801c-4c8e-a49d-6750f174d4ad" targetNamespace="http://schemas.microsoft.com/office/2006/metadata/properties" ma:root="true" ma:fieldsID="1afb2e06de0bda1893d441fb7ae02cf4" ns2:_="" ns3:_="">
    <xsd:import namespace="ca75af4f-63cf-4b10-b368-fa399a260f8c"/>
    <xsd:import namespace="a1f449ad-801c-4c8e-a49d-6750f174d4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75af4f-63cf-4b10-b368-fa399a260f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Značky obrázků" ma:readOnly="false" ma:fieldId="{5cf76f15-5ced-4ddc-b409-7134ff3c332f}" ma:taxonomyMulti="true" ma:sspId="28fccb43-589e-4dd3-be02-dde011ed90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f449ad-801c-4c8e-a49d-6750f174d4a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a7a864d-77e4-4aab-9d7a-71019211645d}" ma:internalName="TaxCatchAll" ma:showField="CatchAllData" ma:web="a1f449ad-801c-4c8e-a49d-6750f174d4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75af4f-63cf-4b10-b368-fa399a260f8c">
      <Terms xmlns="http://schemas.microsoft.com/office/infopath/2007/PartnerControls"/>
    </lcf76f155ced4ddcb4097134ff3c332f>
    <TaxCatchAll xmlns="a1f449ad-801c-4c8e-a49d-6750f174d4ad" xsi:nil="true"/>
  </documentManagement>
</p:properties>
</file>

<file path=customXml/itemProps1.xml><?xml version="1.0" encoding="utf-8"?>
<ds:datastoreItem xmlns:ds="http://schemas.openxmlformats.org/officeDocument/2006/customXml" ds:itemID="{2A2844B9-D8F1-43E9-933F-89353849C4BF}"/>
</file>

<file path=customXml/itemProps2.xml><?xml version="1.0" encoding="utf-8"?>
<ds:datastoreItem xmlns:ds="http://schemas.openxmlformats.org/officeDocument/2006/customXml" ds:itemID="{4B5B50F1-1195-408F-AFA9-AA291B258287}"/>
</file>

<file path=customXml/itemProps3.xml><?xml version="1.0" encoding="utf-8"?>
<ds:datastoreItem xmlns:ds="http://schemas.openxmlformats.org/officeDocument/2006/customXml" ds:itemID="{449BDAF6-DF36-43BF-997D-AE5DF8E92D91}"/>
</file>

<file path=docProps/app.xml><?xml version="1.0" encoding="utf-8"?>
<Properties xmlns="http://schemas.openxmlformats.org/officeDocument/2006/extended-properties" xmlns:vt="http://schemas.openxmlformats.org/officeDocument/2006/docPropsVTypes">
  <Template>New CI - Preliminary Sample version</Template>
  <TotalTime>0</TotalTime>
  <Words>65</Words>
  <Application>Microsoft Office PowerPoint</Application>
  <PresentationFormat>Vlastní</PresentationFormat>
  <Paragraphs>9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9" baseType="lpstr">
      <vt:lpstr>Arial</vt:lpstr>
      <vt:lpstr>SKODA Next</vt:lpstr>
      <vt:lpstr>SKODA Next Light</vt:lpstr>
      <vt:lpstr>Verdana</vt:lpstr>
      <vt:lpstr>Wingdings</vt:lpstr>
      <vt:lpstr>ŠKODA A4 Widescreen CI</vt:lpstr>
      <vt:lpstr>ŠKODA A4 Widescreen GREYSCALE</vt:lpstr>
      <vt:lpstr>think-cell Slide</vt:lpstr>
      <vt:lpstr>Edukativní mobilní laboratoř EDU.LAB powered by ŠKODA AUTO</vt:lpstr>
    </vt:vector>
  </TitlesOfParts>
  <Manager/>
  <Company>Š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bile</dc:title>
  <dc:creator>Marcekova, Veronika 2 (SR)</dc:creator>
  <cp:lastModifiedBy>Marcekova, Veronika 2 (SR)</cp:lastModifiedBy>
  <cp:revision>7</cp:revision>
  <dcterms:created xsi:type="dcterms:W3CDTF">2023-01-27T12:17:46Z</dcterms:created>
  <dcterms:modified xsi:type="dcterms:W3CDTF">2023-01-27T14:3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3-01-27T14:27:35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646ec640-4b77-46ee-affc-2b6cea01ee14</vt:lpwstr>
  </property>
  <property fmtid="{D5CDD505-2E9C-101B-9397-08002B2CF9AE}" pid="8" name="MSIP_Label_a6b84135-ab90-4b03-a415-784f8f15a7f1_ContentBits">
    <vt:lpwstr>0</vt:lpwstr>
  </property>
  <property fmtid="{D5CDD505-2E9C-101B-9397-08002B2CF9AE}" pid="9" name="ContentTypeId">
    <vt:lpwstr>0x010100068B07776149F6489B49DE5723BA65AF</vt:lpwstr>
  </property>
</Properties>
</file>